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Default Extension="png" ContentType="image/png"/>
  <Default Extension="bin" ContentType="application/vnd.openxmlformats-officedocument.oleObject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Default Extension="vml" ContentType="application/vnd.openxmlformats-officedocument.vmlDrawing"/>
  <Override PartName="/ppt/slides/slide7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441" r:id="rId2"/>
    <p:sldId id="444" r:id="rId3"/>
    <p:sldId id="434" r:id="rId4"/>
    <p:sldId id="437" r:id="rId5"/>
    <p:sldId id="438" r:id="rId6"/>
    <p:sldId id="442" r:id="rId7"/>
    <p:sldId id="445" r:id="rId8"/>
  </p:sldIdLst>
  <p:sldSz cx="9144000" cy="6858000" type="screen4x3"/>
  <p:notesSz cx="6797675" cy="9928225"/>
  <p:custDataLst>
    <p:tags r:id="rId11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FF0000"/>
    <a:srgbClr val="E31834"/>
    <a:srgbClr val="F0DB3C"/>
    <a:srgbClr val="C8C1BC"/>
    <a:srgbClr val="FFFFFF"/>
    <a:srgbClr val="A9C4CB"/>
    <a:srgbClr val="E31937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snapVertSplitter="1" vertBarState="minimized" horzBarState="maximized">
    <p:restoredLeft sz="14834" autoAdjust="0"/>
    <p:restoredTop sz="94168" autoAdjust="0"/>
  </p:normalViewPr>
  <p:slideViewPr>
    <p:cSldViewPr snapToGrid="0">
      <p:cViewPr>
        <p:scale>
          <a:sx n="100" d="100"/>
          <a:sy n="100" d="100"/>
        </p:scale>
        <p:origin x="-288" y="360"/>
      </p:cViewPr>
      <p:guideLst>
        <p:guide orient="horz" pos="2205"/>
        <p:guide orient="horz" pos="1344"/>
        <p:guide orient="horz" pos="3780"/>
        <p:guide orient="horz" pos="2485"/>
        <p:guide pos="2971"/>
        <p:guide pos="2018"/>
        <p:guide pos="3930"/>
        <p:guide pos="562"/>
        <p:guide pos="537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567" tIns="45785" rIns="91567" bIns="4578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567" tIns="45785" rIns="91567" bIns="4578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BB46CCF-433E-483F-A3EB-89ED66018668}" type="datetimeFigureOut">
              <a:rPr lang="ru-RU"/>
              <a:pPr>
                <a:defRPr/>
              </a:pPr>
              <a:t>27.06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567" tIns="45785" rIns="91567" bIns="4578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567" tIns="45785" rIns="91567" bIns="4578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547AA48-73AE-49AA-8ABB-7B99BAAB2A8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567" tIns="45785" rIns="91567" bIns="4578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567" tIns="45785" rIns="91567" bIns="4578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76A0F05-D7CF-4BC6-856D-8F78A7157867}" type="datetimeFigureOut">
              <a:rPr lang="ru-RU"/>
              <a:pPr>
                <a:defRPr/>
              </a:pPr>
              <a:t>27.06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1363"/>
            <a:ext cx="4965700" cy="37258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67" tIns="45785" rIns="91567" bIns="45785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 vert="horz" lIns="91567" tIns="45785" rIns="91567" bIns="45785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567" tIns="45785" rIns="91567" bIns="4578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567" tIns="45785" rIns="91567" bIns="4578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C34B6EC-7B28-4970-AB4A-DF8711EFED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770813" y="0"/>
            <a:ext cx="1373187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SlideNumber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BB1EE3-7FFB-45A8-8FB9-ABAFF4C1540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770813" y="0"/>
            <a:ext cx="1373187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183"/>
          <p:cNvSpPr>
            <a:spLocks noChangeArrowheads="1"/>
          </p:cNvSpPr>
          <p:nvPr userDrawn="1"/>
        </p:nvSpPr>
        <p:spPr bwMode="gray">
          <a:xfrm>
            <a:off x="820738" y="190500"/>
            <a:ext cx="360362" cy="361950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bg2"/>
            </a:solidFill>
            <a:round/>
            <a:headEnd/>
            <a:tailEnd/>
          </a:ln>
        </p:spPr>
        <p:txBody>
          <a:bodyPr lIns="46800" tIns="45701" rIns="46800" bIns="45701" anchor="ctr"/>
          <a:lstStyle/>
          <a:p>
            <a:pPr algn="ctr" defTabSz="100965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TextBox 5"/>
          <p:cNvSpPr txBox="1"/>
          <p:nvPr userDrawn="1"/>
        </p:nvSpPr>
        <p:spPr>
          <a:xfrm>
            <a:off x="8609013" y="6594475"/>
            <a:ext cx="265112" cy="20320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0861367-A93A-4650-870C-646C6F7BA2F1}" type="slidenum">
              <a:rPr lang="en-US" sz="900">
                <a:solidFill>
                  <a:srgbClr val="ADABA1"/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ADABA1"/>
              </a:solidFill>
              <a:latin typeface="+mn-lt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01674" y="190500"/>
            <a:ext cx="6469139" cy="322002"/>
          </a:xfrm>
        </p:spPr>
        <p:txBody>
          <a:bodyPr tIns="72000"/>
          <a:lstStyle>
            <a:lvl1pPr>
              <a:lnSpc>
                <a:spcPct val="90000"/>
              </a:lnSpc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770813" y="0"/>
            <a:ext cx="1373187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Number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F726EE-66BE-4985-920A-5CAB0538295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5" descr="Template 4 body page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ClientLogoHolder" descr="&lt;tags&gt;&lt;tag n=&quot;Visible&quot; v=&quot;False&quot; /&gt;&lt;/tags&gt;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40638" y="273050"/>
            <a:ext cx="1047750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DraftAndConfidential" descr="&lt;tags&gt;&lt;tag n=&quot;Language&quot; v=&quot;ENG&quot; /&gt;&lt;/tags&gt;" hidden="1"/>
          <p:cNvSpPr txBox="1">
            <a:spLocks noChangeArrowheads="1"/>
          </p:cNvSpPr>
          <p:nvPr/>
        </p:nvSpPr>
        <p:spPr bwMode="auto">
          <a:xfrm>
            <a:off x="7646988" y="6273800"/>
            <a:ext cx="1046162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Wingdings" pitchFamily="2" charset="2"/>
              <a:buNone/>
              <a:defRPr/>
            </a:pPr>
            <a:r>
              <a:rPr lang="en-US" altLang="ja-JP" sz="1000">
                <a:latin typeface="+mn-lt"/>
                <a:cs typeface="+mn-cs"/>
              </a:rPr>
              <a:t>Confidential / Draft</a:t>
            </a:r>
          </a:p>
        </p:txBody>
      </p:sp>
      <p:pic>
        <p:nvPicPr>
          <p:cNvPr id="1029" name="CompanyLogoHolder" descr="&lt;tags&gt;&lt;tag n=&quot;Visible&quot; v=&quot;False&quot; /&gt;&lt;/tags&gt;" hidden="1"/>
          <p:cNvPicPr preferRelativeResize="0"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49263" y="6240463"/>
            <a:ext cx="1628775" cy="3556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</p:pic>
      <p:sp>
        <p:nvSpPr>
          <p:cNvPr id="1030" name="SlideTitle" descr="Text Box: Title"/>
          <p:cNvSpPr>
            <a:spLocks noGrp="1" noChangeArrowheads="1"/>
          </p:cNvSpPr>
          <p:nvPr>
            <p:ph type="title"/>
          </p:nvPr>
        </p:nvSpPr>
        <p:spPr bwMode="gray">
          <a:xfrm>
            <a:off x="839788" y="190500"/>
            <a:ext cx="6640512" cy="3476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smtClean="0"/>
              <a:t>Title</a:t>
            </a:r>
          </a:p>
        </p:txBody>
      </p:sp>
      <p:sp>
        <p:nvSpPr>
          <p:cNvPr id="1031" name="BasicText" descr="&lt;tags&gt;&lt;tag n=&quot;Linked&quot; v=&quot;True&quot; /&gt;&lt;/tags&gt;"/>
          <p:cNvSpPr>
            <a:spLocks noGrp="1" noChangeArrowheads="1"/>
          </p:cNvSpPr>
          <p:nvPr>
            <p:ph type="body" idx="1"/>
          </p:nvPr>
        </p:nvSpPr>
        <p:spPr bwMode="gray">
          <a:xfrm>
            <a:off x="895350" y="990600"/>
            <a:ext cx="7997825" cy="4343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smtClean="0"/>
              <a:t>Subheading</a:t>
            </a:r>
          </a:p>
          <a:p>
            <a:pPr lvl="1"/>
            <a:r>
              <a:rPr lang="en-US" altLang="ja-JP" smtClean="0"/>
              <a:t>Basic text</a:t>
            </a:r>
          </a:p>
          <a:p>
            <a:pPr lvl="2"/>
            <a:r>
              <a:rPr lang="en-US" altLang="ja-JP" smtClean="0"/>
              <a:t>Bullet level one</a:t>
            </a:r>
          </a:p>
          <a:p>
            <a:pPr lvl="3"/>
            <a:r>
              <a:rPr lang="en-US" altLang="ja-JP" smtClean="0"/>
              <a:t>Bullet level two</a:t>
            </a:r>
          </a:p>
          <a:p>
            <a:pPr lvl="4"/>
            <a:r>
              <a:rPr lang="en-US" altLang="ja-JP" smtClean="0"/>
              <a:t>Bullet level three</a:t>
            </a:r>
          </a:p>
        </p:txBody>
      </p:sp>
      <p:sp>
        <p:nvSpPr>
          <p:cNvPr id="1400846" name="SlideNumber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118350" y="6440488"/>
            <a:ext cx="1755775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>
            <a:lvl1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defRPr sz="1000" b="0">
                <a:latin typeface="+mn-lt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404E4D69-4885-41AB-A6B7-A85593E562E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1033" name="Picture 10" descr="HMS_LE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931150" y="190500"/>
            <a:ext cx="107315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</p:sldLayoutIdLst>
  <p:txStyles>
    <p:titleStyle>
      <a:lvl1pPr algn="l" defTabSz="72866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2866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2pPr>
      <a:lvl3pPr algn="l" defTabSz="72866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3pPr>
      <a:lvl4pPr algn="l" defTabSz="72866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4pPr>
      <a:lvl5pPr algn="l" defTabSz="72866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728663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728663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728663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728663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728663" rtl="0" eaLnBrk="0" fontAlgn="base" hangingPunct="0">
        <a:lnSpc>
          <a:spcPct val="95000"/>
        </a:lnSpc>
        <a:spcBef>
          <a:spcPct val="95000"/>
        </a:spcBef>
        <a:spcAft>
          <a:spcPct val="0"/>
        </a:spcAft>
        <a:buClr>
          <a:schemeClr val="tx1"/>
        </a:buClr>
        <a:buSzPct val="120000"/>
        <a:buFont typeface="Wingdings" pitchFamily="2" charset="2"/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1588" indent="455613" algn="l" defTabSz="728663" rtl="0" eaLnBrk="0" fontAlgn="base" hangingPunct="0">
        <a:lnSpc>
          <a:spcPct val="95000"/>
        </a:lnSpc>
        <a:spcBef>
          <a:spcPct val="36000"/>
        </a:spcBef>
        <a:spcAft>
          <a:spcPct val="0"/>
        </a:spcAft>
        <a:buClr>
          <a:schemeClr val="tx1"/>
        </a:buClr>
        <a:buSzPct val="120000"/>
        <a:defRPr sz="1400">
          <a:solidFill>
            <a:schemeClr val="tx1"/>
          </a:solidFill>
          <a:latin typeface="+mn-lt"/>
          <a:cs typeface="+mn-cs"/>
        </a:defRPr>
      </a:lvl2pPr>
      <a:lvl3pPr marL="228600" indent="-225425" algn="l" defTabSz="728663" rtl="0" eaLnBrk="0" fontAlgn="base" hangingPunct="0">
        <a:lnSpc>
          <a:spcPct val="95000"/>
        </a:lnSpc>
        <a:spcBef>
          <a:spcPct val="0"/>
        </a:spcBef>
        <a:spcAft>
          <a:spcPct val="0"/>
        </a:spcAft>
        <a:buClr>
          <a:srgbClr val="4198AF"/>
        </a:buClr>
        <a:buSzPct val="120000"/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3pPr>
      <a:lvl4pPr marL="466725" indent="-236538" algn="l" defTabSz="728663" rtl="0" eaLnBrk="0" fontAlgn="base" hangingPunct="0">
        <a:lnSpc>
          <a:spcPct val="95000"/>
        </a:lnSpc>
        <a:spcBef>
          <a:spcPct val="0"/>
        </a:spcBef>
        <a:spcAft>
          <a:spcPct val="0"/>
        </a:spcAft>
        <a:buClr>
          <a:srgbClr val="4198AF"/>
        </a:buClr>
        <a:buFont typeface="Arial" charset="0"/>
        <a:buChar char="−"/>
        <a:defRPr sz="1400">
          <a:solidFill>
            <a:schemeClr val="tx1"/>
          </a:solidFill>
          <a:latin typeface="+mn-lt"/>
          <a:cs typeface="+mn-cs"/>
        </a:defRPr>
      </a:lvl4pPr>
      <a:lvl5pPr marL="706438" indent="-238125" algn="l" defTabSz="728663" rtl="0" eaLnBrk="0" fontAlgn="base" hangingPunct="0">
        <a:lnSpc>
          <a:spcPct val="95000"/>
        </a:lnSpc>
        <a:spcBef>
          <a:spcPct val="0"/>
        </a:spcBef>
        <a:spcAft>
          <a:spcPct val="0"/>
        </a:spcAft>
        <a:buClr>
          <a:srgbClr val="4198AF"/>
        </a:buClr>
        <a:buFont typeface="Arial" charset="0"/>
        <a:buChar char="−"/>
        <a:defRPr sz="1400">
          <a:solidFill>
            <a:schemeClr val="tx1"/>
          </a:solidFill>
          <a:latin typeface="+mn-lt"/>
          <a:cs typeface="+mn-cs"/>
        </a:defRPr>
      </a:lvl5pPr>
      <a:lvl6pPr marL="1163638" indent="-238125" algn="l" defTabSz="728663" rtl="0" fontAlgn="base">
        <a:lnSpc>
          <a:spcPct val="95000"/>
        </a:lnSpc>
        <a:spcBef>
          <a:spcPct val="0"/>
        </a:spcBef>
        <a:spcAft>
          <a:spcPct val="0"/>
        </a:spcAft>
        <a:buClr>
          <a:srgbClr val="4198AF"/>
        </a:buClr>
        <a:buFont typeface="Arial" charset="0"/>
        <a:buChar char="−"/>
        <a:defRPr sz="1400">
          <a:solidFill>
            <a:schemeClr val="tx1"/>
          </a:solidFill>
          <a:latin typeface="+mn-lt"/>
          <a:cs typeface="+mn-cs"/>
        </a:defRPr>
      </a:lvl6pPr>
      <a:lvl7pPr marL="1620838" indent="-238125" algn="l" defTabSz="728663" rtl="0" fontAlgn="base">
        <a:lnSpc>
          <a:spcPct val="95000"/>
        </a:lnSpc>
        <a:spcBef>
          <a:spcPct val="0"/>
        </a:spcBef>
        <a:spcAft>
          <a:spcPct val="0"/>
        </a:spcAft>
        <a:buClr>
          <a:srgbClr val="4198AF"/>
        </a:buClr>
        <a:buFont typeface="Arial" charset="0"/>
        <a:buChar char="−"/>
        <a:defRPr sz="1400">
          <a:solidFill>
            <a:schemeClr val="tx1"/>
          </a:solidFill>
          <a:latin typeface="+mn-lt"/>
          <a:cs typeface="+mn-cs"/>
        </a:defRPr>
      </a:lvl7pPr>
      <a:lvl8pPr marL="2078038" indent="-238125" algn="l" defTabSz="728663" rtl="0" fontAlgn="base">
        <a:lnSpc>
          <a:spcPct val="95000"/>
        </a:lnSpc>
        <a:spcBef>
          <a:spcPct val="0"/>
        </a:spcBef>
        <a:spcAft>
          <a:spcPct val="0"/>
        </a:spcAft>
        <a:buClr>
          <a:srgbClr val="4198AF"/>
        </a:buClr>
        <a:buFont typeface="Arial" charset="0"/>
        <a:buChar char="−"/>
        <a:defRPr sz="1400">
          <a:solidFill>
            <a:schemeClr val="tx1"/>
          </a:solidFill>
          <a:latin typeface="+mn-lt"/>
          <a:cs typeface="+mn-cs"/>
        </a:defRPr>
      </a:lvl8pPr>
      <a:lvl9pPr marL="2535238" indent="-238125" algn="l" defTabSz="728663" rtl="0" fontAlgn="base">
        <a:lnSpc>
          <a:spcPct val="95000"/>
        </a:lnSpc>
        <a:spcBef>
          <a:spcPct val="0"/>
        </a:spcBef>
        <a:spcAft>
          <a:spcPct val="0"/>
        </a:spcAft>
        <a:buClr>
          <a:srgbClr val="4198AF"/>
        </a:buClr>
        <a:buFont typeface="Arial" charset="0"/>
        <a:buChar char="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jpeg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jpeg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9" name="Text Box 6"/>
          <p:cNvSpPr txBox="1">
            <a:spLocks noChangeArrowheads="1"/>
          </p:cNvSpPr>
          <p:nvPr/>
        </p:nvSpPr>
        <p:spPr bwMode="gray">
          <a:xfrm>
            <a:off x="892175" y="1203325"/>
            <a:ext cx="7993063" cy="54149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 b="1">
                <a:latin typeface="Times New Roman" pitchFamily="18" charset="0"/>
              </a:rPr>
              <a:t>                                                                 </a:t>
            </a:r>
            <a:r>
              <a:rPr lang="ru-RU" sz="1400">
                <a:latin typeface="Times New Roman" pitchFamily="18" charset="0"/>
              </a:rPr>
              <a:t>Станция насосная передвижная </a:t>
            </a:r>
            <a:r>
              <a:rPr lang="ru-RU" sz="1400"/>
              <a:t>СНП-500/10 УХЛ 3.1</a:t>
            </a:r>
            <a:r>
              <a:rPr lang="ru-RU" sz="1400">
                <a:latin typeface="Times New Roman" pitchFamily="18" charset="0"/>
              </a:rPr>
              <a:t>,     </a:t>
            </a:r>
          </a:p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>
                <a:latin typeface="Times New Roman" pitchFamily="18" charset="0"/>
              </a:rPr>
              <a:t>                                                                 предназначена для перекачивания воды, оросительных и</a:t>
            </a:r>
          </a:p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>
                <a:latin typeface="Times New Roman" pitchFamily="18" charset="0"/>
              </a:rPr>
              <a:t>                                                                  осушительных работ.</a:t>
            </a:r>
          </a:p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 i="1">
                <a:solidFill>
                  <a:srgbClr val="E31937"/>
                </a:solidFill>
                <a:latin typeface="Times New Roman" pitchFamily="18" charset="0"/>
              </a:rPr>
              <a:t>                                                                        Насосная станция обладает высокими эксплуата-             </a:t>
            </a:r>
          </a:p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 i="1">
                <a:solidFill>
                  <a:srgbClr val="E31937"/>
                </a:solidFill>
                <a:latin typeface="Times New Roman" pitchFamily="18" charset="0"/>
              </a:rPr>
              <a:t>                                                                     ционными качествами, надежно работает в условиях </a:t>
            </a:r>
          </a:p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 i="1">
                <a:solidFill>
                  <a:srgbClr val="E31937"/>
                </a:solidFill>
                <a:latin typeface="Times New Roman" pitchFamily="18" charset="0"/>
              </a:rPr>
              <a:t>                                                                       умеренного и тропического климата.</a:t>
            </a:r>
            <a:r>
              <a:rPr lang="ru-RU" sz="1400">
                <a:latin typeface="Times New Roman" pitchFamily="18" charset="0"/>
              </a:rPr>
              <a:t> </a:t>
            </a:r>
          </a:p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>
                <a:latin typeface="Times New Roman" pitchFamily="18" charset="0"/>
              </a:rPr>
              <a:t>                                                                   Установка состоит из дизельного привода, состоящего из </a:t>
            </a:r>
          </a:p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>
                <a:latin typeface="Times New Roman" pitchFamily="18" charset="0"/>
              </a:rPr>
              <a:t>                                                                   силового агрегата, в состав	которого входят двигатель с </a:t>
            </a:r>
          </a:p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>
                <a:latin typeface="Times New Roman" pitchFamily="18" charset="0"/>
              </a:rPr>
              <a:t>                                                                   механизмом отбора мощности смонтированного на раме-		салазках.  На раме-салазках установлен редуктор, соединённый с силовым агрегатом карданным валом. С редуктором посредством упругой компенсационной муфты соединяется установленный на раме-салазках осевой насос. Для контроля работы насоса на патрубках насоса установлены манометр (на выходе из насоса) и мановакуумметр (на входе в насос).</a:t>
            </a:r>
          </a:p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>
                <a:latin typeface="Times New Roman" pitchFamily="18" charset="0"/>
              </a:rPr>
              <a:t>     Для заполнения насоса водой на насосной станции установлен газоструйный вакуум-аппарат и дисковый затвор. Газоструйный аппарат установлен на выпускном коллекторе двигателя перед глушителем и работает от выхлопных газов двигателя. Газоструйный аппарат соединен рукавом и краном с корпусом насоса. Дисковый затвор установлен на выходе из насоса.</a:t>
            </a:r>
            <a:r>
              <a:rPr lang="ru-RU" sz="1400"/>
              <a:t> Дизельный привод оборудован системой воздухозабора с воздушным фильтром, системой выпуска отработавших газов с глушителем выхлопа, системой охлаждения с водяным радиатором и масляным радиатором, системой питания с топливным баком и фильтром грубой очистки топлива, системой электрооборудования с пультом управления, рычагом выключения сцепления. Отсчет времени работы двигателя обеспечивается счетчиком времени наработки.</a:t>
            </a:r>
          </a:p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>
                <a:solidFill>
                  <a:srgbClr val="E31937"/>
                </a:solidFill>
                <a:latin typeface="Times New Roman" pitchFamily="18" charset="0"/>
              </a:rPr>
              <a:t> По требованию заказчика дизельный насосный агрегат может быть изготовлен в исполнениях </a:t>
            </a:r>
            <a:r>
              <a:rPr lang="ru-RU" sz="1400" b="1">
                <a:solidFill>
                  <a:srgbClr val="E31937"/>
                </a:solidFill>
                <a:latin typeface="Times New Roman" pitchFamily="18" charset="0"/>
              </a:rPr>
              <a:t>на раме, на полозях, на колёсном шасси. </a:t>
            </a:r>
          </a:p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endParaRPr lang="ru-RU" sz="1400" b="1">
              <a:solidFill>
                <a:srgbClr val="E31937"/>
              </a:solidFill>
              <a:latin typeface="Times New Roman" pitchFamily="18" charset="0"/>
            </a:endParaRPr>
          </a:p>
        </p:txBody>
      </p:sp>
      <p:graphicFrame>
        <p:nvGraphicFramePr>
          <p:cNvPr id="126978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78" name="think-cell Slide" r:id="rId4" imgW="360" imgH="360" progId="">
              <p:embed/>
            </p:oleObj>
          </a:graphicData>
        </a:graphic>
      </p:graphicFrame>
      <p:sp>
        <p:nvSpPr>
          <p:cNvPr id="126980" name="Title 3" descr="Text Box: Title"/>
          <p:cNvSpPr>
            <a:spLocks/>
          </p:cNvSpPr>
          <p:nvPr/>
        </p:nvSpPr>
        <p:spPr bwMode="gray">
          <a:xfrm>
            <a:off x="1255713" y="196850"/>
            <a:ext cx="6469062" cy="5667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72000" rIns="0" bIns="0">
            <a:spAutoFit/>
          </a:bodyPr>
          <a:lstStyle/>
          <a:p>
            <a:pPr defTabSz="728663" eaLnBrk="0" hangingPunct="0">
              <a:lnSpc>
                <a:spcPct val="90000"/>
              </a:lnSpc>
            </a:pPr>
            <a:r>
              <a:rPr lang="ru-RU" b="1"/>
              <a:t>Дизельные насосные агрегаты производства</a:t>
            </a:r>
            <a:br>
              <a:rPr lang="ru-RU" b="1"/>
            </a:br>
            <a:r>
              <a:rPr lang="ru-RU" b="1"/>
              <a:t>АО «ГМС Ливгидромаш»:</a:t>
            </a:r>
          </a:p>
        </p:txBody>
      </p:sp>
      <p:sp>
        <p:nvSpPr>
          <p:cNvPr id="126981" name="Text Box 6"/>
          <p:cNvSpPr txBox="1">
            <a:spLocks noChangeArrowheads="1"/>
          </p:cNvSpPr>
          <p:nvPr/>
        </p:nvSpPr>
        <p:spPr bwMode="gray">
          <a:xfrm>
            <a:off x="962025" y="796925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sz="1600" b="1">
                <a:solidFill>
                  <a:srgbClr val="E31937"/>
                </a:solidFill>
              </a:rPr>
              <a:t>Общее описание агрегата СНП 500-10</a:t>
            </a:r>
          </a:p>
        </p:txBody>
      </p:sp>
      <p:pic>
        <p:nvPicPr>
          <p:cNvPr id="126982" name="Picture 481" descr="C:\Documents and Settings\ashihmin\Рабочий стол\ДНА_полоз1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11200" y="1036638"/>
            <a:ext cx="3001963" cy="215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005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50" name="think-cell Slide" r:id="rId4" imgW="360" imgH="360" progId="">
              <p:embed/>
            </p:oleObj>
          </a:graphicData>
        </a:graphic>
      </p:graphicFrame>
      <p:sp>
        <p:nvSpPr>
          <p:cNvPr id="130051" name="Title 3" descr="Text Box: Title"/>
          <p:cNvSpPr>
            <a:spLocks/>
          </p:cNvSpPr>
          <p:nvPr/>
        </p:nvSpPr>
        <p:spPr bwMode="gray">
          <a:xfrm>
            <a:off x="1255713" y="196850"/>
            <a:ext cx="6469062" cy="5667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72000" rIns="0" bIns="0">
            <a:spAutoFit/>
          </a:bodyPr>
          <a:lstStyle/>
          <a:p>
            <a:pPr defTabSz="728663" eaLnBrk="0" hangingPunct="0">
              <a:lnSpc>
                <a:spcPct val="90000"/>
              </a:lnSpc>
            </a:pPr>
            <a:r>
              <a:rPr lang="ru-RU" b="1"/>
              <a:t>Дизельные насосные агрегаты производства</a:t>
            </a:r>
            <a:br>
              <a:rPr lang="ru-RU" b="1"/>
            </a:br>
            <a:r>
              <a:rPr lang="ru-RU" b="1"/>
              <a:t>АО «ГМС Ливгидромаш»:</a:t>
            </a:r>
          </a:p>
        </p:txBody>
      </p:sp>
      <p:sp>
        <p:nvSpPr>
          <p:cNvPr id="130052" name="Text Box 6"/>
          <p:cNvSpPr txBox="1">
            <a:spLocks noChangeArrowheads="1"/>
          </p:cNvSpPr>
          <p:nvPr/>
        </p:nvSpPr>
        <p:spPr bwMode="gray">
          <a:xfrm>
            <a:off x="962025" y="796925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sz="1600" b="1">
                <a:solidFill>
                  <a:srgbClr val="E31937"/>
                </a:solidFill>
              </a:rPr>
              <a:t>Общее описание агрегата СНП 500-10</a:t>
            </a:r>
          </a:p>
        </p:txBody>
      </p:sp>
      <p:sp>
        <p:nvSpPr>
          <p:cNvPr id="130053" name="Text Box 6"/>
          <p:cNvSpPr txBox="1">
            <a:spLocks noChangeArrowheads="1"/>
          </p:cNvSpPr>
          <p:nvPr/>
        </p:nvSpPr>
        <p:spPr bwMode="gray">
          <a:xfrm>
            <a:off x="892175" y="1203325"/>
            <a:ext cx="8026400" cy="54149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 b="1">
                <a:latin typeface="Times New Roman" pitchFamily="18" charset="0"/>
              </a:rPr>
              <a:t>     </a:t>
            </a:r>
            <a:r>
              <a:rPr lang="ru-RU" sz="1400"/>
              <a:t>Система управления насосной станции удовлетворяет 1-ой степени автоматизации по ГОСТ 14228-80 и  включает функции запуска, управления, автоматического поддержания оборотов, подзарядки аккумуляторов и аварийной защиты дизеля. Климатическое исполнение станции УХЛ 3.1  - от -10</a:t>
            </a:r>
            <a:r>
              <a:rPr lang="ru-RU" sz="1400" baseline="30000"/>
              <a:t>0</a:t>
            </a:r>
            <a:r>
              <a:rPr lang="ru-RU" sz="1400"/>
              <a:t>С до +40</a:t>
            </a:r>
            <a:r>
              <a:rPr lang="ru-RU" sz="1400" baseline="30000"/>
              <a:t>0</a:t>
            </a:r>
            <a:r>
              <a:rPr lang="ru-RU" sz="1400"/>
              <a:t>С</a:t>
            </a:r>
          </a:p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>
                <a:latin typeface="Times New Roman" pitchFamily="18" charset="0"/>
              </a:rPr>
              <a:t>Для контроля за работой двигателя на пульте управления имеются:</a:t>
            </a:r>
          </a:p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>
                <a:latin typeface="Times New Roman" pitchFamily="18" charset="0"/>
              </a:rPr>
              <a:t>- амперметр, для контроля зарядки аккумуляторных батарей;</a:t>
            </a:r>
          </a:p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>
                <a:latin typeface="Times New Roman" pitchFamily="18" charset="0"/>
              </a:rPr>
              <a:t>- указатель температуры охлаждающей жидкости;</a:t>
            </a:r>
          </a:p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>
                <a:latin typeface="Times New Roman" pitchFamily="18" charset="0"/>
              </a:rPr>
              <a:t>- указатель давления масла;</a:t>
            </a:r>
          </a:p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>
                <a:latin typeface="Times New Roman" pitchFamily="18" charset="0"/>
              </a:rPr>
              <a:t>- тахометр, для контроля за частотой вращения двигателя.</a:t>
            </a:r>
          </a:p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>
                <a:latin typeface="Times New Roman" pitchFamily="18" charset="0"/>
              </a:rPr>
              <a:t>- указатель уровня топлива;</a:t>
            </a:r>
          </a:p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>
                <a:latin typeface="Times New Roman" pitchFamily="18" charset="0"/>
              </a:rPr>
              <a:t>- светосигнальные индикаторы аварийного давления масла, аварийной температуры воды, засоренности масляного фильтра.</a:t>
            </a:r>
            <a:endParaRPr lang="ru-RU" sz="1400" i="1">
              <a:latin typeface="Times New Roman" pitchFamily="18" charset="0"/>
            </a:endParaRPr>
          </a:p>
          <a:p>
            <a:pPr indent="-30163" algn="ctr" defTabSz="61913">
              <a:tabLst>
                <a:tab pos="30163" algn="l"/>
                <a:tab pos="155575" algn="l"/>
              </a:tabLst>
            </a:pPr>
            <a:r>
              <a:rPr lang="ru-RU" sz="1400" i="1">
                <a:solidFill>
                  <a:srgbClr val="E31937"/>
                </a:solidFill>
                <a:latin typeface="Times New Roman" pitchFamily="18" charset="0"/>
              </a:rPr>
              <a:t>Насосная станция имеет систему автоматической защиты от аварийных режимов работы двигателя, благодаря чему не требуется постоянное наблюдение за её работой.</a:t>
            </a:r>
            <a:endParaRPr lang="ru-RU" sz="1400">
              <a:solidFill>
                <a:srgbClr val="E31937"/>
              </a:solidFill>
              <a:latin typeface="Times New Roman" pitchFamily="18" charset="0"/>
            </a:endParaRPr>
          </a:p>
          <a:p>
            <a:pPr indent="-30163" defTabSz="61913">
              <a:tabLst>
                <a:tab pos="30163" algn="l"/>
                <a:tab pos="155575" algn="l"/>
              </a:tabLst>
            </a:pPr>
            <a:r>
              <a:rPr lang="ru-RU" sz="1400">
                <a:latin typeface="Times New Roman" pitchFamily="18" charset="0"/>
              </a:rPr>
              <a:t>Система аварийно-предупредительной сигнализации и защиты по аварийным параметрам включает в себя датчики аварийного давления масла и аварийной температуры охлаждающей жидкости со светосигнальными индикаторами.</a:t>
            </a:r>
          </a:p>
        </p:txBody>
      </p:sp>
      <p:pic>
        <p:nvPicPr>
          <p:cNvPr id="130054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671638" y="4862513"/>
            <a:ext cx="6088062" cy="163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9332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9332" name="think-cell Slide" r:id="rId4" imgW="360" imgH="360" progId="">
              <p:embed/>
            </p:oleObj>
          </a:graphicData>
        </a:graphic>
      </p:graphicFrame>
      <p:sp>
        <p:nvSpPr>
          <p:cNvPr id="99333" name="Title 3" descr="Text Box: Title"/>
          <p:cNvSpPr>
            <a:spLocks/>
          </p:cNvSpPr>
          <p:nvPr/>
        </p:nvSpPr>
        <p:spPr bwMode="gray">
          <a:xfrm>
            <a:off x="1258888" y="185738"/>
            <a:ext cx="6469062" cy="5667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72000" rIns="0" bIns="0">
            <a:spAutoFit/>
          </a:bodyPr>
          <a:lstStyle/>
          <a:p>
            <a:pPr defTabSz="728663" eaLnBrk="0" hangingPunct="0">
              <a:lnSpc>
                <a:spcPct val="90000"/>
              </a:lnSpc>
            </a:pPr>
            <a:r>
              <a:rPr lang="ru-RU" b="1"/>
              <a:t>Дизельные насосные агрегаты производства</a:t>
            </a:r>
            <a:br>
              <a:rPr lang="ru-RU" b="1"/>
            </a:br>
            <a:r>
              <a:rPr lang="ru-RU" b="1"/>
              <a:t>АО «ГМС Ливгидромаш»:</a:t>
            </a:r>
          </a:p>
        </p:txBody>
      </p:sp>
      <p:pic>
        <p:nvPicPr>
          <p:cNvPr id="99334" name="Рисунок 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653088" y="1846263"/>
            <a:ext cx="3302000" cy="5011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9335" name="Title 3" descr="Text Box: Title"/>
          <p:cNvSpPr>
            <a:spLocks/>
          </p:cNvSpPr>
          <p:nvPr/>
        </p:nvSpPr>
        <p:spPr bwMode="gray">
          <a:xfrm>
            <a:off x="5757863" y="1577975"/>
            <a:ext cx="3068637" cy="292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72000" rIns="0" bIns="0">
            <a:spAutoFit/>
          </a:bodyPr>
          <a:lstStyle/>
          <a:p>
            <a:pPr defTabSz="728663" eaLnBrk="0" hangingPunct="0">
              <a:lnSpc>
                <a:spcPct val="90000"/>
              </a:lnSpc>
            </a:pPr>
            <a:r>
              <a:rPr lang="ru-RU" sz="1600" b="1">
                <a:solidFill>
                  <a:schemeClr val="bg2"/>
                </a:solidFill>
              </a:rPr>
              <a:t>Графическая характеристика: </a:t>
            </a:r>
          </a:p>
        </p:txBody>
      </p:sp>
      <p:pic>
        <p:nvPicPr>
          <p:cNvPr id="99336" name="Picture 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890838" y="4148138"/>
            <a:ext cx="2646362" cy="236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9337" name="Picture 10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35050" y="1658938"/>
            <a:ext cx="3033713" cy="283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9338" name="Title 3" descr="Text Box: Title"/>
          <p:cNvSpPr>
            <a:spLocks/>
          </p:cNvSpPr>
          <p:nvPr/>
        </p:nvSpPr>
        <p:spPr bwMode="gray">
          <a:xfrm>
            <a:off x="892175" y="1138238"/>
            <a:ext cx="4648200" cy="292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72000" rIns="0" bIns="0">
            <a:spAutoFit/>
          </a:bodyPr>
          <a:lstStyle/>
          <a:p>
            <a:pPr defTabSz="728663" eaLnBrk="0" hangingPunct="0">
              <a:lnSpc>
                <a:spcPct val="90000"/>
              </a:lnSpc>
            </a:pPr>
            <a:r>
              <a:rPr lang="ru-RU" sz="1600" b="1">
                <a:solidFill>
                  <a:schemeClr val="bg2"/>
                </a:solidFill>
              </a:rPr>
              <a:t>Насос ОГ-50 комплектуемый в СНП 500-10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71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5714" name="think-cell Slide" r:id="rId4" imgW="360" imgH="360" progId="">
              <p:embed/>
            </p:oleObj>
          </a:graphicData>
        </a:graphic>
      </p:graphicFrame>
      <p:sp>
        <p:nvSpPr>
          <p:cNvPr id="115715" name="Text Box 6"/>
          <p:cNvSpPr txBox="1">
            <a:spLocks noChangeArrowheads="1"/>
          </p:cNvSpPr>
          <p:nvPr/>
        </p:nvSpPr>
        <p:spPr bwMode="gray">
          <a:xfrm>
            <a:off x="962025" y="877888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sz="1600" b="1">
                <a:solidFill>
                  <a:srgbClr val="E31937"/>
                </a:solidFill>
              </a:rPr>
              <a:t>Чертёж общего вида и комплектация агрегата СНП 500-10 УХЛ 3.1</a:t>
            </a:r>
          </a:p>
        </p:txBody>
      </p:sp>
      <p:sp>
        <p:nvSpPr>
          <p:cNvPr id="115716" name="Title 3" descr="Text Box: Title"/>
          <p:cNvSpPr>
            <a:spLocks/>
          </p:cNvSpPr>
          <p:nvPr/>
        </p:nvSpPr>
        <p:spPr bwMode="gray">
          <a:xfrm>
            <a:off x="1304925" y="184150"/>
            <a:ext cx="6469063" cy="5667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72000" rIns="0" bIns="0">
            <a:spAutoFit/>
          </a:bodyPr>
          <a:lstStyle/>
          <a:p>
            <a:pPr defTabSz="728663" eaLnBrk="0" hangingPunct="0">
              <a:lnSpc>
                <a:spcPct val="90000"/>
              </a:lnSpc>
            </a:pPr>
            <a:r>
              <a:rPr lang="ru-RU" b="1"/>
              <a:t>Дизельные насосные агрегаты производства</a:t>
            </a:r>
            <a:br>
              <a:rPr lang="ru-RU" b="1"/>
            </a:br>
            <a:r>
              <a:rPr lang="ru-RU" b="1"/>
              <a:t>АО «ГМС Ливгидромаш»:</a:t>
            </a:r>
          </a:p>
        </p:txBody>
      </p:sp>
      <p:pic>
        <p:nvPicPr>
          <p:cNvPr id="115717" name="Рисунок 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92175" y="1341438"/>
            <a:ext cx="8161338" cy="399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738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6738" name="think-cell Slide" r:id="rId4" imgW="360" imgH="360" progId="">
              <p:embed/>
            </p:oleObj>
          </a:graphicData>
        </a:graphic>
      </p:graphicFrame>
      <p:sp>
        <p:nvSpPr>
          <p:cNvPr id="116739" name="Title 3" descr="Text Box: Title"/>
          <p:cNvSpPr>
            <a:spLocks/>
          </p:cNvSpPr>
          <p:nvPr/>
        </p:nvSpPr>
        <p:spPr bwMode="gray">
          <a:xfrm>
            <a:off x="1257300" y="184150"/>
            <a:ext cx="6469063" cy="5667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72000" rIns="0" bIns="0">
            <a:spAutoFit/>
          </a:bodyPr>
          <a:lstStyle/>
          <a:p>
            <a:pPr defTabSz="728663" eaLnBrk="0" hangingPunct="0">
              <a:lnSpc>
                <a:spcPct val="90000"/>
              </a:lnSpc>
            </a:pPr>
            <a:r>
              <a:rPr lang="ru-RU" b="1"/>
              <a:t>Дизельные насосные агрегаты производства</a:t>
            </a:r>
            <a:br>
              <a:rPr lang="ru-RU" b="1"/>
            </a:br>
            <a:r>
              <a:rPr lang="ru-RU" b="1"/>
              <a:t>АО «ГМС Ливгидромаш»:</a:t>
            </a:r>
          </a:p>
        </p:txBody>
      </p:sp>
      <p:graphicFrame>
        <p:nvGraphicFramePr>
          <p:cNvPr id="116785" name="Group 49"/>
          <p:cNvGraphicFramePr>
            <a:graphicFrameLocks noGrp="1"/>
          </p:cNvGraphicFramePr>
          <p:nvPr/>
        </p:nvGraphicFramePr>
        <p:xfrm>
          <a:off x="1225550" y="1808163"/>
          <a:ext cx="4883150" cy="2849562"/>
        </p:xfrm>
        <a:graphic>
          <a:graphicData uri="http://schemas.openxmlformats.org/drawingml/2006/table">
            <a:tbl>
              <a:tblPr/>
              <a:tblGrid>
                <a:gridCol w="2738438"/>
                <a:gridCol w="2144712"/>
              </a:tblGrid>
              <a:tr h="4889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араметры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агрегатов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Агрегат АО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Calibri" pitchFamily="34" charset="0"/>
                          <a:cs typeface="Times New Roman" pitchFamily="18" charset="0"/>
                        </a:rPr>
                        <a:t>«</a:t>
                      </a: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ГМС Ливгидромаш</a:t>
                      </a: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Calibri" pitchFamily="34" charset="0"/>
                          <a:cs typeface="Times New Roman" pitchFamily="18" charset="0"/>
                        </a:rPr>
                        <a:t>»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17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одача, л/с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485-70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5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Напор, м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1,0-6,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5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Высота всасывания, м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2,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5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Мощность, кВт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9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5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Частота вращения, об/мин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00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5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Насос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ОГ-5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05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Масса насоса, кг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89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8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Масса агрегата, кг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400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6782" name="Text Box 6"/>
          <p:cNvSpPr txBox="1">
            <a:spLocks noChangeArrowheads="1"/>
          </p:cNvSpPr>
          <p:nvPr/>
        </p:nvSpPr>
        <p:spPr bwMode="gray">
          <a:xfrm>
            <a:off x="962025" y="97631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sz="1600" b="1">
                <a:solidFill>
                  <a:srgbClr val="E31937"/>
                </a:solidFill>
              </a:rPr>
              <a:t>Техническая характеристика агрегата СНП 500-10                                        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00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2" name="think-cell Slide" r:id="rId4" imgW="360" imgH="360" progId="">
              <p:embed/>
            </p:oleObj>
          </a:graphicData>
        </a:graphic>
      </p:graphicFrame>
      <p:sp>
        <p:nvSpPr>
          <p:cNvPr id="128003" name="Title 3" descr="Text Box: Title"/>
          <p:cNvSpPr>
            <a:spLocks/>
          </p:cNvSpPr>
          <p:nvPr/>
        </p:nvSpPr>
        <p:spPr bwMode="gray">
          <a:xfrm>
            <a:off x="1255713" y="196850"/>
            <a:ext cx="6469062" cy="5667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72000" rIns="0" bIns="0">
            <a:spAutoFit/>
          </a:bodyPr>
          <a:lstStyle/>
          <a:p>
            <a:pPr defTabSz="728663" eaLnBrk="0" hangingPunct="0">
              <a:lnSpc>
                <a:spcPct val="90000"/>
              </a:lnSpc>
            </a:pPr>
            <a:r>
              <a:rPr lang="ru-RU" b="1"/>
              <a:t>Дизельные насосные агрегаты производства</a:t>
            </a:r>
            <a:br>
              <a:rPr lang="ru-RU" b="1"/>
            </a:br>
            <a:r>
              <a:rPr lang="ru-RU" b="1"/>
              <a:t>АО «ГМС Ливгидромаш»:</a:t>
            </a:r>
          </a:p>
        </p:txBody>
      </p:sp>
      <p:sp>
        <p:nvSpPr>
          <p:cNvPr id="128004" name="Text Box 6"/>
          <p:cNvSpPr txBox="1">
            <a:spLocks noChangeArrowheads="1"/>
          </p:cNvSpPr>
          <p:nvPr/>
        </p:nvSpPr>
        <p:spPr bwMode="gray">
          <a:xfrm>
            <a:off x="962025" y="796925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sz="1600" b="1">
                <a:solidFill>
                  <a:srgbClr val="E31937"/>
                </a:solidFill>
              </a:rPr>
              <a:t>Примеры стандартной комплектации серийных установок СНП 500-10</a:t>
            </a:r>
          </a:p>
        </p:txBody>
      </p:sp>
      <p:graphicFrame>
        <p:nvGraphicFramePr>
          <p:cNvPr id="128096" name="Group 96"/>
          <p:cNvGraphicFramePr>
            <a:graphicFrameLocks noGrp="1"/>
          </p:cNvGraphicFramePr>
          <p:nvPr/>
        </p:nvGraphicFramePr>
        <p:xfrm>
          <a:off x="892175" y="1655763"/>
          <a:ext cx="7991475" cy="4522787"/>
        </p:xfrm>
        <a:graphic>
          <a:graphicData uri="http://schemas.openxmlformats.org/drawingml/2006/table">
            <a:tbl>
              <a:tblPr/>
              <a:tblGrid>
                <a:gridCol w="2000250"/>
                <a:gridCol w="1995488"/>
                <a:gridCol w="2000250"/>
                <a:gridCol w="1995487"/>
              </a:tblGrid>
              <a:tr h="325438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НП-500/1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СНП-500/10-В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197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. Рама-салазки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2. Дизельный двигатель с механизмом отбора мощности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3. Блок радиаторов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4. Топливный бак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5. Топливные трубопроводы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6. Газоструйный вакуум-аппарат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7. Глушитель выхлопа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8. Система управления насосной станции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9. Система аварийно-предупредительной сигнализации и защиты по аварийным параметрам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0. Карданный вал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1. Редуктор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2. Навес для защиты от осадков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3. Насос ОГ-50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4. Переходники затвора дискового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5. Затвор дисковый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. Рама-салазки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2. Дизельный двигатель с механизмом отбора мощности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3. Блок радиаторов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4. Топливный бак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5. Топливные трубопроводы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6. Газоструйный вакуум-аппарат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7. Глушитель выхлопа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8. Система управления насосной станции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9. Система аварийно-предупредительной сигнализации и защиты по аварийным параметрам.</a:t>
                      </a:r>
                    </a:p>
                  </a:txBody>
                  <a:tcPr horzOverflow="overflow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0. Карданный вал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1. Редуктор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2. Навес для защиты от осадков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3. Насос ОГ-50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4. Переходники затвора дискового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5. Затвор дисковый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6. Всасывающая линия (по требованию заказчика).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7. Напорная линия (по требованию заказчика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107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1074" name="think-cell Slide" r:id="rId4" imgW="360" imgH="360" progId="">
              <p:embed/>
            </p:oleObj>
          </a:graphicData>
        </a:graphic>
      </p:graphicFrame>
      <p:sp>
        <p:nvSpPr>
          <p:cNvPr id="131075" name="Title 3" descr="Text Box: Title"/>
          <p:cNvSpPr>
            <a:spLocks/>
          </p:cNvSpPr>
          <p:nvPr/>
        </p:nvSpPr>
        <p:spPr bwMode="gray">
          <a:xfrm>
            <a:off x="1255713" y="196850"/>
            <a:ext cx="6469062" cy="5667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72000" rIns="0" bIns="0">
            <a:spAutoFit/>
          </a:bodyPr>
          <a:lstStyle/>
          <a:p>
            <a:pPr defTabSz="728663" eaLnBrk="0" hangingPunct="0">
              <a:lnSpc>
                <a:spcPct val="90000"/>
              </a:lnSpc>
            </a:pPr>
            <a:r>
              <a:rPr lang="ru-RU" b="1"/>
              <a:t>Дизельные насосные агрегаты производства</a:t>
            </a:r>
            <a:br>
              <a:rPr lang="ru-RU" b="1"/>
            </a:br>
            <a:r>
              <a:rPr lang="ru-RU" b="1"/>
              <a:t>АО «ГМС Ливгидромаш»:</a:t>
            </a:r>
          </a:p>
        </p:txBody>
      </p:sp>
      <p:sp>
        <p:nvSpPr>
          <p:cNvPr id="131076" name="Text Box 6"/>
          <p:cNvSpPr txBox="1">
            <a:spLocks noChangeArrowheads="1"/>
          </p:cNvSpPr>
          <p:nvPr/>
        </p:nvSpPr>
        <p:spPr bwMode="gray">
          <a:xfrm>
            <a:off x="962025" y="976313"/>
            <a:ext cx="7562850" cy="222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63044" tIns="40033" rIns="63044" bIns="40033"/>
          <a:lstStyle/>
          <a:p>
            <a:pPr indent="-30163" defTabSz="61913">
              <a:lnSpc>
                <a:spcPts val="1500"/>
              </a:lnSpc>
              <a:spcBef>
                <a:spcPts val="875"/>
              </a:spcBef>
              <a:spcAft>
                <a:spcPts val="525"/>
              </a:spcAft>
              <a:buClr>
                <a:schemeClr val="tx2"/>
              </a:buClr>
              <a:buSzPct val="80000"/>
              <a:tabLst>
                <a:tab pos="30163" algn="l"/>
                <a:tab pos="155575" algn="l"/>
              </a:tabLst>
            </a:pPr>
            <a:r>
              <a:rPr lang="ru-RU" sz="1600" b="1">
                <a:solidFill>
                  <a:srgbClr val="E31937"/>
                </a:solidFill>
              </a:rPr>
              <a:t>Преимущества дизельных насосных установок АО «ГМС Ливгидромаш»</a:t>
            </a:r>
          </a:p>
        </p:txBody>
      </p:sp>
      <p:sp>
        <p:nvSpPr>
          <p:cNvPr id="131077" name="Rectangle 20"/>
          <p:cNvSpPr>
            <a:spLocks noChangeArrowheads="1"/>
          </p:cNvSpPr>
          <p:nvPr/>
        </p:nvSpPr>
        <p:spPr bwMode="auto">
          <a:xfrm>
            <a:off x="1104900" y="1514475"/>
            <a:ext cx="7419975" cy="421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buClr>
                <a:srgbClr val="E31937"/>
              </a:buClr>
              <a:buFont typeface="Wingdings" pitchFamily="2" charset="2"/>
              <a:buChar char="Ø"/>
              <a:tabLst>
                <a:tab pos="106363" algn="l"/>
              </a:tabLst>
            </a:pPr>
            <a:r>
              <a:rPr lang="ru-RU" altLang="ja-JP"/>
              <a:t> широкая область применения (орошение, полив, системы пожаротушения и т.д.);</a:t>
            </a:r>
          </a:p>
          <a:p>
            <a:pPr>
              <a:buClr>
                <a:srgbClr val="E31937"/>
              </a:buClr>
              <a:buFont typeface="Wingdings" pitchFamily="2" charset="2"/>
              <a:buChar char="Ø"/>
              <a:tabLst>
                <a:tab pos="106363" algn="l"/>
              </a:tabLst>
            </a:pPr>
            <a:r>
              <a:rPr lang="ru-RU" altLang="ja-JP"/>
              <a:t> оперативность ввода в эксплуатацию;</a:t>
            </a:r>
          </a:p>
          <a:p>
            <a:pPr>
              <a:buClr>
                <a:srgbClr val="E31937"/>
              </a:buClr>
              <a:buFont typeface="Wingdings" pitchFamily="2" charset="2"/>
              <a:buChar char="Ø"/>
              <a:tabLst>
                <a:tab pos="106363" algn="l"/>
              </a:tabLst>
            </a:pPr>
            <a:r>
              <a:rPr lang="ru-RU" altLang="ja-JP"/>
              <a:t> возможность регулирование производительности и напора путем изменения числа оборотов двигателя;</a:t>
            </a:r>
          </a:p>
          <a:p>
            <a:pPr>
              <a:buClr>
                <a:srgbClr val="E31937"/>
              </a:buClr>
              <a:buFont typeface="Wingdings" pitchFamily="2" charset="2"/>
              <a:buChar char="Ø"/>
              <a:tabLst>
                <a:tab pos="106363" algn="l"/>
              </a:tabLst>
            </a:pPr>
            <a:r>
              <a:rPr lang="ru-RU" altLang="ja-JP"/>
              <a:t> исполнение агрегатов на шасси или салазках обеспечивает мобильность и возможность быстро менять место установки;</a:t>
            </a:r>
          </a:p>
          <a:p>
            <a:pPr>
              <a:buClr>
                <a:srgbClr val="E31937"/>
              </a:buClr>
              <a:buFont typeface="Wingdings" pitchFamily="2" charset="2"/>
              <a:buChar char="Ø"/>
              <a:tabLst>
                <a:tab pos="106363" algn="l"/>
              </a:tabLst>
            </a:pPr>
            <a:r>
              <a:rPr lang="ru-RU" altLang="ja-JP"/>
              <a:t> использование номенклатуры насосного оборудования собственного производства с возможностью широкого выбора требуемых параметров;</a:t>
            </a:r>
          </a:p>
          <a:p>
            <a:pPr>
              <a:buClr>
                <a:srgbClr val="E31937"/>
              </a:buClr>
              <a:buFont typeface="Wingdings" pitchFamily="2" charset="2"/>
              <a:buChar char="Ø"/>
              <a:tabLst>
                <a:tab pos="106363" algn="l"/>
              </a:tabLst>
            </a:pPr>
            <a:r>
              <a:rPr lang="ru-RU" altLang="ja-JP"/>
              <a:t> комплектация дизельными двигателями как отечественного, так и импортного производства по выбору заказчика</a:t>
            </a:r>
          </a:p>
          <a:p>
            <a:pPr>
              <a:buClr>
                <a:srgbClr val="E31937"/>
              </a:buClr>
              <a:buFont typeface="Wingdings" pitchFamily="2" charset="2"/>
              <a:buChar char="Ø"/>
              <a:tabLst>
                <a:tab pos="106363" algn="l"/>
              </a:tabLst>
            </a:pPr>
            <a:r>
              <a:rPr lang="ru-RU" altLang="ja-JP"/>
              <a:t> наличие собственного уникального компьютеризированного испытательного стенда для проверки параметров и работоспособности агрегата в целом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8&quot;&gt;&lt;elem m_fUsage=&quot;2.36424625713861140000E+000&quot;&gt;&lt;m_ppcolschidx val=&quot;0&quot;/&gt;&lt;m_rgb r=&quot;c8&quot; g=&quot;c1&quot; b=&quot;bc&quot;/&gt;&lt;/elem&gt;&lt;elem m_fUsage=&quot;1.68009308160251700000E+000&quot;&gt;&lt;m_ppcolschidx val=&quot;0&quot;/&gt;&lt;m_rgb r=&quot;e3&quot; g=&quot;18&quot; b=&quot;34&quot;/&gt;&lt;/elem&gt;&lt;elem m_fUsage=&quot;1.61800820999999990000E+000&quot;&gt;&lt;m_ppcolschidx val=&quot;0&quot;/&gt;&lt;m_rgb r=&quot;93&quot; g=&quot;c1&quot; b=&quot;96&quot;/&gt;&lt;/elem&gt;&lt;elem m_fUsage=&quot;1.47829690000000010000E+000&quot;&gt;&lt;m_ppcolschidx val=&quot;0&quot;/&gt;&lt;m_rgb r=&quot;aa&quot; g=&quot;46&quot; b=&quot;43&quot;/&gt;&lt;/elem&gt;&lt;elem m_fUsage=&quot;1.00941898913151260000E+000&quot;&gt;&lt;m_ppcolschidx val=&quot;0&quot;/&gt;&lt;m_rgb r=&quot;cf&quot; g=&quot;d5&quot; b=&quot;e1&quot;/&gt;&lt;/elem&gt;&lt;elem m_fUsage=&quot;5.90490000000000180000E-001&quot;&gt;&lt;m_ppcolschidx val=&quot;0&quot;/&gt;&lt;m_rgb r=&quot;41&quot; g=&quot;98&quot; b=&quot;af&quot;/&gt;&lt;/elem&gt;&lt;elem m_fUsage=&quot;3.87420489000000150000E-001&quot;&gt;&lt;m_ppcolschidx val=&quot;0&quot;/&gt;&lt;m_rgb r=&quot;89&quot; g=&quot;a5&quot; b=&quot;4e&quot;/&gt;&lt;/elem&gt;&lt;elem m_fUsage=&quot;3.48678440100000150000E-001&quot;&gt;&lt;m_ppcolschidx val=&quot;0&quot;/&gt;&lt;m_rgb r=&quot;45&quot; g=&quot;72&quot; b=&quot;a7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62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FlysheetAndBody">
  <a:themeElements>
    <a:clrScheme name="1_FlysheetAndBody 2">
      <a:dk1>
        <a:srgbClr val="000000"/>
      </a:dk1>
      <a:lt1>
        <a:srgbClr val="FFFFFF"/>
      </a:lt1>
      <a:dk2>
        <a:srgbClr val="4198AF"/>
      </a:dk2>
      <a:lt2>
        <a:srgbClr val="E31834"/>
      </a:lt2>
      <a:accent1>
        <a:srgbClr val="4572A7"/>
      </a:accent1>
      <a:accent2>
        <a:srgbClr val="89A54E"/>
      </a:accent2>
      <a:accent3>
        <a:srgbClr val="FFFFFF"/>
      </a:accent3>
      <a:accent4>
        <a:srgbClr val="000000"/>
      </a:accent4>
      <a:accent5>
        <a:srgbClr val="B0BCD0"/>
      </a:accent5>
      <a:accent6>
        <a:srgbClr val="7C9546"/>
      </a:accent6>
      <a:hlink>
        <a:srgbClr val="AA4643"/>
      </a:hlink>
      <a:folHlink>
        <a:srgbClr val="A9C4CB"/>
      </a:folHlink>
    </a:clrScheme>
    <a:fontScheme name="1_FlysheetAndBod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6800" tIns="64800" rIns="46800" bIns="64800" numCol="1" anchor="ctr" anchorCtr="0" compatLnSpc="1">
        <a:prstTxWarp prst="textNoShape">
          <a:avLst/>
        </a:prstTxWarp>
      </a:bodyPr>
      <a:lstStyle>
        <a:defPPr marL="0" marR="0" indent="0" algn="ctr" defTabSz="728663" rtl="0" eaLnBrk="1" fontAlgn="base" latinLnBrk="0" hangingPunct="1">
          <a:lnSpc>
            <a:spcPct val="95000"/>
          </a:lnSpc>
          <a:spcBef>
            <a:spcPct val="0"/>
          </a:spcBef>
          <a:spcAft>
            <a:spcPct val="0"/>
          </a:spcAft>
          <a:buClr>
            <a:schemeClr val="bg1"/>
          </a:buClr>
          <a:buSzTx/>
          <a:buFontTx/>
          <a:buNone/>
          <a:tabLst>
            <a:tab pos="4286250" algn="l"/>
          </a:tabLst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6800" tIns="64800" rIns="46800" bIns="64800" numCol="1" anchor="ctr" anchorCtr="0" compatLnSpc="1">
        <a:prstTxWarp prst="textNoShape">
          <a:avLst/>
        </a:prstTxWarp>
      </a:bodyPr>
      <a:lstStyle>
        <a:defPPr marL="0" marR="0" indent="0" algn="ctr" defTabSz="728663" rtl="0" eaLnBrk="1" fontAlgn="base" latinLnBrk="0" hangingPunct="1">
          <a:lnSpc>
            <a:spcPct val="95000"/>
          </a:lnSpc>
          <a:spcBef>
            <a:spcPct val="0"/>
          </a:spcBef>
          <a:spcAft>
            <a:spcPct val="0"/>
          </a:spcAft>
          <a:buClr>
            <a:schemeClr val="bg1"/>
          </a:buClr>
          <a:buSzTx/>
          <a:buFontTx/>
          <a:buNone/>
          <a:tabLst>
            <a:tab pos="4286250" algn="l"/>
          </a:tabLst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FlysheetAndBody 1">
        <a:dk1>
          <a:srgbClr val="000000"/>
        </a:dk1>
        <a:lt1>
          <a:srgbClr val="FFFFFF"/>
        </a:lt1>
        <a:dk2>
          <a:srgbClr val="7898B3"/>
        </a:dk2>
        <a:lt2>
          <a:srgbClr val="C8C1BC"/>
        </a:lt2>
        <a:accent1>
          <a:srgbClr val="255B89"/>
        </a:accent1>
        <a:accent2>
          <a:srgbClr val="91867E"/>
        </a:accent2>
        <a:accent3>
          <a:srgbClr val="FFFFFF"/>
        </a:accent3>
        <a:accent4>
          <a:srgbClr val="000000"/>
        </a:accent4>
        <a:accent5>
          <a:srgbClr val="ACB5C4"/>
        </a:accent5>
        <a:accent6>
          <a:srgbClr val="837972"/>
        </a:accent6>
        <a:hlink>
          <a:srgbClr val="9D0E2D"/>
        </a:hlink>
        <a:folHlink>
          <a:srgbClr val="6CCBE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lysheetAndBody 1">
        <a:dk1>
          <a:srgbClr val="000000"/>
        </a:dk1>
        <a:lt1>
          <a:srgbClr val="FFFFFF"/>
        </a:lt1>
        <a:dk2>
          <a:srgbClr val="7898B3"/>
        </a:dk2>
        <a:lt2>
          <a:srgbClr val="C8C1BC"/>
        </a:lt2>
        <a:accent1>
          <a:srgbClr val="255B89"/>
        </a:accent1>
        <a:accent2>
          <a:srgbClr val="91867E"/>
        </a:accent2>
        <a:accent3>
          <a:srgbClr val="FFFFFF"/>
        </a:accent3>
        <a:accent4>
          <a:srgbClr val="000000"/>
        </a:accent4>
        <a:accent5>
          <a:srgbClr val="ACB5C4"/>
        </a:accent5>
        <a:accent6>
          <a:srgbClr val="837972"/>
        </a:accent6>
        <a:hlink>
          <a:srgbClr val="9D0E2D"/>
        </a:hlink>
        <a:folHlink>
          <a:srgbClr val="6CCBE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lysheetAndBody 2">
        <a:dk1>
          <a:srgbClr val="000000"/>
        </a:dk1>
        <a:lt1>
          <a:srgbClr val="FFFFFF"/>
        </a:lt1>
        <a:dk2>
          <a:srgbClr val="4198AF"/>
        </a:dk2>
        <a:lt2>
          <a:srgbClr val="E31834"/>
        </a:lt2>
        <a:accent1>
          <a:srgbClr val="4572A7"/>
        </a:accent1>
        <a:accent2>
          <a:srgbClr val="89A54E"/>
        </a:accent2>
        <a:accent3>
          <a:srgbClr val="FFFFFF"/>
        </a:accent3>
        <a:accent4>
          <a:srgbClr val="000000"/>
        </a:accent4>
        <a:accent5>
          <a:srgbClr val="B0BCD0"/>
        </a:accent5>
        <a:accent6>
          <a:srgbClr val="7C9546"/>
        </a:accent6>
        <a:hlink>
          <a:srgbClr val="AA4643"/>
        </a:hlink>
        <a:folHlink>
          <a:srgbClr val="A9C4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13</TotalTime>
  <Words>659</Words>
  <Application>Microsoft Office PowerPoint</Application>
  <PresentationFormat>On-screen Show (4:3)</PresentationFormat>
  <Paragraphs>97</Paragraphs>
  <Slides>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Шаблон оформления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7" baseType="lpstr">
      <vt:lpstr>Arial</vt:lpstr>
      <vt:lpstr>Wingdings</vt:lpstr>
      <vt:lpstr>Calibri</vt:lpstr>
      <vt:lpstr>MS PGothic</vt:lpstr>
      <vt:lpstr>Times New Roman</vt:lpstr>
      <vt:lpstr>1_FlysheetAndBody</vt:lpstr>
      <vt:lpstr>1_FlysheetAndBody</vt:lpstr>
      <vt:lpstr>1_FlysheetAndBody</vt:lpstr>
      <vt:lpstr>1_FlysheetAndBody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суждение возможных вариантов сотрудничества между Стройгазмонтаж и Группа ГМС</dc:title>
  <dc:creator>Келехсаева Инна Михайловна</dc:creator>
  <cp:lastModifiedBy>stroevim</cp:lastModifiedBy>
  <cp:revision>547</cp:revision>
  <cp:lastPrinted>2014-07-29T13:43:34Z</cp:lastPrinted>
  <dcterms:created xsi:type="dcterms:W3CDTF">2012-10-30T05:11:36Z</dcterms:created>
  <dcterms:modified xsi:type="dcterms:W3CDTF">2016-06-27T09:36:44Z</dcterms:modified>
</cp:coreProperties>
</file>